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25A183B-9B19-4905-8250-341CDE0C9D6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2107906-AFC2-41A0-B218-A7DD57772CB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8BB3BB26-00C8-4BBC-B1D2-2BC1428D235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8AD5ECF-BEFF-42F8-8D30-69A11F06FEC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658F477-D8C7-4A33-9933-B52B2751917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597E3AE-6A59-448C-BC43-1F63997957E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0F16926-9EE8-4808-99B6-ACD451EB845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2686D9B-40B2-4091-A630-10EDF5A894C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2B7EF7A-1C2A-4CD6-9145-77004E880A6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A4783A5-451B-4C15-A2CA-A60235B6419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69CA20B-34D8-47B7-AF3B-DC224DA44F2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3DDC937-C215-4676-8E55-1A947333F8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1397FFC-C286-4D23-ABDE-A6F38307615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218272D-29D7-472D-A5BA-0FA2518EEB4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1FA90E1-92A9-4EDF-9CCC-4DFB1C9E1C9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92CEABA0-F802-4798-BF03-320D94D1F52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3C1E049-21D7-4E4D-A79F-AFD8A31CC82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E7E3D308-32C3-4680-8FD8-0D3FB92A6F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3682313-1508-440F-AAB5-F0459F9D1A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124D396-6BAE-431D-82E5-AE6E611337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F05A57F-D6AD-47C6-96C0-E9785E36A91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CCCF4FD-C28F-4CF4-A2AE-65D1506D12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8</cp:revision>
  <dcterms:created xsi:type="dcterms:W3CDTF">2025-05-09T11:21:43Z</dcterms:created>
  <dcterms:modified xsi:type="dcterms:W3CDTF">2025-10-03T10:33:46Z</dcterms:modified>
</cp:coreProperties>
</file>